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5291" autoAdjust="0"/>
  </p:normalViewPr>
  <p:slideViewPr>
    <p:cSldViewPr>
      <p:cViewPr varScale="1">
        <p:scale>
          <a:sx n="67" d="100"/>
          <a:sy n="67" d="100"/>
        </p:scale>
        <p:origin x="644" y="3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4/03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4/03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hyperlink" Target="https://github.com/subhamsatpathy11" TargetMode="External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linkedin.com/in/subham-subhamaya-satpathy-7b1114149/" TargetMode="Externa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5613"/>
            <a:ext cx="3897195" cy="3621087"/>
          </a:xfrm>
        </p:spPr>
        <p:txBody>
          <a:bodyPr/>
          <a:lstStyle/>
          <a:p>
            <a:pPr algn="just" eaLnBrk="1" hangingPunct="1">
              <a:lnSpc>
                <a:spcPct val="114000"/>
              </a:lnSpc>
            </a:pPr>
            <a:r>
              <a:rPr lang="en-US" alt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1. Agro-based Farmer Dealer Web Application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Completed end to end case study of Dealer and Crops Application along with JWT authentication, Swagger and payment testing using Spring Boot and MERN Stack.</a:t>
            </a:r>
            <a:r>
              <a:rPr lang="en-US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Material-UI and Bootstrap used for user interface.</a:t>
            </a:r>
            <a:endParaRPr lang="en-US" altLang="en-US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14000"/>
              </a:lnSpc>
            </a:pPr>
            <a:r>
              <a:rPr lang="en-US" altLang="nl-NL" sz="1050" b="1" dirty="0"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IN" altLang="nl-NL" sz="1050" b="1" dirty="0">
                <a:latin typeface="Arial" panose="020B0604020202020204" pitchFamily="34" charset="0"/>
                <a:cs typeface="Arial" panose="020B0604020202020204" pitchFamily="34" charset="0"/>
              </a:rPr>
              <a:t>Online Restaurant Management Application</a:t>
            </a:r>
            <a:endParaRPr lang="en-US" altLang="nl-NL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Developed Online Restaurant Management Application using Angular with JSON-Server as database in agile methodology of software component development model.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nl-NL" sz="1050" b="1" dirty="0">
                <a:latin typeface="Arial" panose="020B0604020202020204" pitchFamily="34" charset="0"/>
                <a:cs typeface="Arial" panose="020B0604020202020204" pitchFamily="34" charset="0"/>
              </a:rPr>
              <a:t>3. Backend (MongoDB), Midware (Spring Boot) and Frontend (Angular) at Capgemini Degreed Platform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Learned and recompiled all concepts of the backend, midware and frontend to polish my skills to work on real –time projects. </a:t>
            </a:r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516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53706" y="1363663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Mumbai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95644" y="1598613"/>
            <a:ext cx="2606551" cy="269876"/>
          </a:xfrm>
        </p:spPr>
        <p:txBody>
          <a:bodyPr/>
          <a:lstStyle/>
          <a:p>
            <a:pPr eaLnBrk="1" hangingPunct="1"/>
            <a:r>
              <a:rPr lang="nl-NL" altLang="nl-NL" dirty="0"/>
              <a:t>subham.satpathy@capgemin.com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15222" y="1847851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 6370103951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53860" y="3094870"/>
            <a:ext cx="3869932" cy="3621087"/>
          </a:xfrm>
        </p:spPr>
        <p:txBody>
          <a:bodyPr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Ready to learn new technologies and implement them to further improve my knowledge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as working knowledge on ReactJS(Hooks, redux)and Java Microservice Development using Spring framework on an intermediate level.</a:t>
            </a:r>
            <a:br>
              <a:rPr lang="en-US" altLang="nl-NL" sz="105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altLang="nl-NL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1881" y="568324"/>
            <a:ext cx="2890120" cy="6605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Bachelor of Technology Computer Science (Gold Medalist) : 2017 - 2021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s</a:t>
            </a:r>
            <a:b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Java 11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Spring Boot,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Spring Security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JPA CRUD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Bootstrap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2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N Stack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Angular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NodeJ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SQL database – MySQL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No SQL database – 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Technologie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HTML5 &amp; 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Javascrip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Typescrip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On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Mave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Excellent 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>
                <a:latin typeface="Arial" panose="020B0604020202020204" pitchFamily="34" charset="0"/>
                <a:cs typeface="Arial" panose="020B0604020202020204" pitchFamily="34" charset="0"/>
              </a:rPr>
              <a:t>Subham Subhamaya Satpathy</a:t>
            </a:r>
          </a:p>
        </p:txBody>
      </p:sp>
      <p:pic>
        <p:nvPicPr>
          <p:cNvPr id="7179" name="Picture 7">
            <a:hlinkClick r:id="rId3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4314184" y="6283419"/>
            <a:ext cx="432537" cy="432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1" name="Picture 6" descr="Movie, play, video icon">
            <a:extLst>
              <a:ext uri="{FF2B5EF4-FFF2-40B4-BE49-F238E27FC236}">
                <a16:creationId xmlns:a16="http://schemas.microsoft.com/office/drawing/2014/main" id="{568E79A1-196A-4599-9F1F-AD39B99F1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3874" y="6283419"/>
            <a:ext cx="437805" cy="436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2" name="Picture 4" descr="Free icon download | Linkedin">
            <a:hlinkClick r:id="rId6"/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9226" y="6323961"/>
            <a:ext cx="391997" cy="391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63975" y="1969294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6" name="Picture Placeholder 5" descr="A person with a mustache&#10;&#10;Description automatically generated with low confidence">
            <a:extLst>
              <a:ext uri="{FF2B5EF4-FFF2-40B4-BE49-F238E27FC236}">
                <a16:creationId xmlns:a16="http://schemas.microsoft.com/office/drawing/2014/main" id="{75CC6AC0-1EF4-44BA-9D86-675E0224A2B5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1" r="1271"/>
          <a:stretch>
            <a:fillRect/>
          </a:stretch>
        </p:blipFill>
        <p:spPr/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0818</TotalTime>
  <Words>277</Words>
  <Application>Microsoft Office PowerPoint</Application>
  <PresentationFormat>Widescreen</PresentationFormat>
  <Paragraphs>6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Satpathy, Subham</cp:lastModifiedBy>
  <cp:revision>102</cp:revision>
  <dcterms:created xsi:type="dcterms:W3CDTF">2017-12-08T05:27:40Z</dcterms:created>
  <dcterms:modified xsi:type="dcterms:W3CDTF">2022-03-13T22:25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